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4"/>
  </p:notesMasterIdLst>
  <p:handoutMasterIdLst>
    <p:handoutMasterId r:id="rId5"/>
  </p:handoutMasterIdLst>
  <p:sldIdLst>
    <p:sldId id="311" r:id="rId2"/>
    <p:sldId id="340" r:id="rId3"/>
  </p:sldIdLst>
  <p:sldSz cx="9906000" cy="6858000" type="A4"/>
  <p:notesSz cx="6896100" cy="10033000"/>
  <p:custDataLst>
    <p:tags r:id="rId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30" autoAdjust="0"/>
    <p:restoredTop sz="93857" autoAdjust="0"/>
  </p:normalViewPr>
  <p:slideViewPr>
    <p:cSldViewPr>
      <p:cViewPr>
        <p:scale>
          <a:sx n="100" d="100"/>
          <a:sy n="100" d="100"/>
        </p:scale>
        <p:origin x="-1326" y="-31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5/18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A_01_arduino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1_arduino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1_arduino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- wstęp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222" name="Picture 6" descr="https://s3.amazonaws.com/ksr/assets/000/839/277/ed8e45bf086a57a613e7e9194eeb1742_large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016870" y="3717040"/>
            <a:ext cx="6667500" cy="236220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1_arduin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to tania i wygodna platforma do prototypowania.</a:t>
            </a:r>
            <a:endParaRPr lang="pl-PL" sz="2000" b="1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powstało w 2005 we Włoszech jako projekt studenck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oparta jest o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open</a:t>
            </a:r>
            <a:r>
              <a:rPr lang="pl-PL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source</a:t>
            </a:r>
            <a:r>
              <a:rPr lang="pl-PL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hadware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open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ource</a:t>
            </a:r>
            <a:r>
              <a:rPr lang="pl-PL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softwar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Hardware to najróżniejsze płytki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oar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oftware to język programowania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, biblioteki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 i kompilator (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vr-g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pic>
        <p:nvPicPr>
          <p:cNvPr id="11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89130" y="1196690"/>
            <a:ext cx="2720690" cy="272069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6</Words>
  <Application>Microsoft Office PowerPoint</Application>
  <PresentationFormat>A4 Paper (210x297 mm)</PresentationFormat>
  <Paragraphs>12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Arduino - wstęp</vt:lpstr>
      <vt:lpstr>Arduino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142</cp:revision>
  <dcterms:created xsi:type="dcterms:W3CDTF">2014-10-21T19:55:20Z</dcterms:created>
  <dcterms:modified xsi:type="dcterms:W3CDTF">2015-05-18T08:43:29Z</dcterms:modified>
</cp:coreProperties>
</file>